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08" r:id="rId2"/>
    <p:sldId id="399" r:id="rId3"/>
    <p:sldId id="400" r:id="rId4"/>
    <p:sldId id="410" r:id="rId5"/>
    <p:sldId id="409" r:id="rId6"/>
    <p:sldId id="411" r:id="rId7"/>
    <p:sldId id="401" r:id="rId8"/>
    <p:sldId id="407" r:id="rId9"/>
    <p:sldId id="402" r:id="rId10"/>
    <p:sldId id="403" r:id="rId11"/>
    <p:sldId id="404" r:id="rId12"/>
    <p:sldId id="405" r:id="rId13"/>
    <p:sldId id="406" r:id="rId14"/>
  </p:sldIdLst>
  <p:sldSz cx="9144000" cy="5143500" type="screen16x9"/>
  <p:notesSz cx="9925050" cy="6665913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08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599" userDrawn="1">
          <p15:clr>
            <a:srgbClr val="A4A3A4"/>
          </p15:clr>
        </p15:guide>
        <p15:guide id="4" orient="horz" pos="1280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5556" userDrawn="1">
          <p15:clr>
            <a:srgbClr val="A4A3A4"/>
          </p15:clr>
        </p15:guide>
        <p15:guide id="8" pos="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3"/>
    <a:srgbClr val="999999"/>
    <a:srgbClr val="98C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50" autoAdjust="0"/>
    <p:restoredTop sz="88283" autoAdjust="0"/>
  </p:normalViewPr>
  <p:slideViewPr>
    <p:cSldViewPr snapToGrid="0">
      <p:cViewPr>
        <p:scale>
          <a:sx n="70" d="100"/>
          <a:sy n="70" d="100"/>
        </p:scale>
        <p:origin x="1026" y="498"/>
      </p:cViewPr>
      <p:guideLst>
        <p:guide orient="horz" pos="1008"/>
        <p:guide pos="2880"/>
        <p:guide orient="horz" pos="599"/>
        <p:guide orient="horz" pos="1280"/>
        <p:guide orient="horz" pos="2867"/>
        <p:guide orient="horz" pos="2958"/>
        <p:guide pos="5556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2" d="100"/>
          <a:sy n="122" d="100"/>
        </p:scale>
        <p:origin x="1422" y="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0/12/2017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0/12/2017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1" preserve="1" userDrawn="1">
  <p:cSld name="Start_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62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629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pic>
        <p:nvPicPr>
          <p:cNvPr id="13" name="Bild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6" name="Textfeld 10"/>
          <p:cNvSpPr txBox="1"/>
          <p:nvPr userDrawn="1"/>
        </p:nvSpPr>
        <p:spPr>
          <a:xfrm>
            <a:off x="323850" y="321468"/>
            <a:ext cx="716042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bg1"/>
                </a:solidFill>
                <a:latin typeface="+mn-lt"/>
              </a:rPr>
              <a:t>Advanced</a:t>
            </a:r>
            <a:r>
              <a:rPr lang="de-DE" sz="800" dirty="0">
                <a:solidFill>
                  <a:schemeClr val="bg1"/>
                </a:solidFill>
                <a:latin typeface="+mn-lt"/>
              </a:rPr>
              <a:t> Topics in Software Engineering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bg1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bg1"/>
                </a:solidFill>
                <a:latin typeface="+mn-lt"/>
              </a:rPr>
              <a:t> München</a:t>
            </a:r>
            <a:endParaRPr lang="de-DE" sz="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großes Bild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_leer" preserve="1" userDrawn="1">
  <p:cSld name="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white">
          <a:xfrm>
            <a:off x="323850" y="4854985"/>
            <a:ext cx="8499335" cy="273844"/>
          </a:xfrm>
          <a:prstGeom prst="rect">
            <a:avLst/>
          </a:prstGeom>
          <a:noFill/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" preserve="1" userDrawn="1">
  <p:cSld name="1_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2032003"/>
            <a:ext cx="8499335" cy="252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white">
          <a:xfrm>
            <a:off x="323850" y="4854985"/>
            <a:ext cx="8499335" cy="273844"/>
          </a:xfrm>
          <a:prstGeom prst="rect">
            <a:avLst/>
          </a:prstGeom>
          <a:noFill/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3320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2 Inhalte" preserve="1" userDrawn="1">
  <p:cSld name="zwei Inhalte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9"/>
          </p:nvPr>
        </p:nvSpPr>
        <p:spPr>
          <a:xfrm>
            <a:off x="463924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8296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" preserve="1" userDrawn="1">
  <p:cSld name="1_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2"/>
            <a:ext cx="4180910" cy="2519361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2032002"/>
            <a:ext cx="4180392" cy="251936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7007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 (Hintergrund)" preserve="1" userDrawn="1">
  <p:cSld name="Zwei Inhalte + Text_Bild (Hintergrund)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032003"/>
            <a:ext cx="9144000" cy="3096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38032" y="2032003"/>
            <a:ext cx="4180392" cy="251936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3034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großes Bild" preserve="1" userDrawn="1">
  <p:cSld name="große Bilder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037655"/>
            <a:ext cx="9144000" cy="3091174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906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ntakt" preserve="1" userDrawn="1">
  <p:cSld name="Kontakt 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Kontak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3850" y="1600200"/>
            <a:ext cx="8496300" cy="3095625"/>
          </a:xfrm>
        </p:spPr>
        <p:txBody>
          <a:bodyPr anchor="b">
            <a:normAutofit/>
          </a:bodyPr>
          <a:lstStyle>
            <a:lvl1pPr>
              <a:defRPr sz="1100"/>
            </a:lvl1pPr>
          </a:lstStyle>
          <a:p>
            <a:pPr lvl="0"/>
            <a:r>
              <a:rPr lang="en-US" dirty="0" err="1"/>
              <a:t>Kontaktda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7841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großes Bild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025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2" preserve="1" userDrawn="1">
  <p:cSld name="Start_Lehrstuhl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4" name="Textfeld 10"/>
          <p:cNvSpPr txBox="1"/>
          <p:nvPr userDrawn="1"/>
        </p:nvSpPr>
        <p:spPr>
          <a:xfrm>
            <a:off x="323850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  <p:pic>
        <p:nvPicPr>
          <p:cNvPr id="5" name="Bild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1410973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3" preserve="1" userDrawn="1">
  <p:cSld name="Start_Skiz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666" y="1476375"/>
            <a:ext cx="3820917" cy="3333750"/>
          </a:xfrm>
          <a:prstGeom prst="rect">
            <a:avLst/>
          </a:prstGeom>
        </p:spPr>
      </p:pic>
      <p:pic>
        <p:nvPicPr>
          <p:cNvPr id="4" name="Bild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6" name="Textfeld 10"/>
          <p:cNvSpPr txBox="1"/>
          <p:nvPr userDrawn="1"/>
        </p:nvSpPr>
        <p:spPr>
          <a:xfrm>
            <a:off x="323850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1062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blau" preserve="1" userDrawn="1">
  <p:cSld name="Kapiteltrenner_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</p:spTree>
    <p:extLst>
      <p:ext uri="{BB962C8B-B14F-4D97-AF65-F5344CB8AC3E}">
        <p14:creationId xmlns:p14="http://schemas.microsoft.com/office/powerpoint/2010/main" val="2601873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schwarz" preserve="1" userDrawn="1">
  <p:cSld name="Kapiteltrenner_schwarz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6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</p:spTree>
    <p:extLst>
      <p:ext uri="{BB962C8B-B14F-4D97-AF65-F5344CB8AC3E}">
        <p14:creationId xmlns:p14="http://schemas.microsoft.com/office/powerpoint/2010/main" val="3672040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_leer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Group 6-6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600200"/>
            <a:ext cx="8499335" cy="295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1587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2 Inhalte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23850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2275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 + Bild" preserve="1" userDrawn="1">
  <p:cSld name="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1600200"/>
            <a:ext cx="4180910" cy="295116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1600200"/>
            <a:ext cx="4180392" cy="29511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3466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Group 6-6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851" y="950913"/>
            <a:ext cx="849630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err="1"/>
              <a:t>Tit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323851" y="1600201"/>
            <a:ext cx="8503158" cy="30956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feld 10"/>
          <p:cNvSpPr txBox="1"/>
          <p:nvPr userDrawn="1"/>
        </p:nvSpPr>
        <p:spPr>
          <a:xfrm>
            <a:off x="323850" y="321468"/>
            <a:ext cx="716042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rgbClr val="0065BD"/>
                </a:solidFill>
                <a:latin typeface="+mn-lt"/>
              </a:rPr>
              <a:t>Advanced</a:t>
            </a:r>
            <a:r>
              <a:rPr lang="de-DE" sz="800" dirty="0">
                <a:solidFill>
                  <a:srgbClr val="0065BD"/>
                </a:solidFill>
                <a:latin typeface="+mn-lt"/>
              </a:rPr>
              <a:t> Topics in Software Engineering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2" r:id="rId2"/>
    <p:sldLayoutId id="2147483713" r:id="rId3"/>
    <p:sldLayoutId id="2147483714" r:id="rId4"/>
    <p:sldLayoutId id="2147483715" r:id="rId5"/>
    <p:sldLayoutId id="2147483654" r:id="rId6"/>
    <p:sldLayoutId id="2147483726" r:id="rId7"/>
    <p:sldLayoutId id="2147483657" r:id="rId8"/>
    <p:sldLayoutId id="2147483718" r:id="rId9"/>
    <p:sldLayoutId id="2147483656" r:id="rId10"/>
    <p:sldLayoutId id="2147483704" r:id="rId11"/>
    <p:sldLayoutId id="2147483727" r:id="rId12"/>
    <p:sldLayoutId id="2147483717" r:id="rId13"/>
    <p:sldLayoutId id="2147483728" r:id="rId14"/>
    <p:sldLayoutId id="2147483720" r:id="rId15"/>
    <p:sldLayoutId id="2147483721" r:id="rId16"/>
    <p:sldLayoutId id="2147483725" r:id="rId17"/>
    <p:sldLayoutId id="2147483729" r:id="rId18"/>
  </p:sldLayoutIdLst>
  <p:hf hdr="0" dt="0"/>
  <p:txStyles>
    <p:titleStyle>
      <a:lvl1pPr marL="0" indent="0" algn="l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2500" b="0" i="0" u="none" kern="1200">
          <a:solidFill>
            <a:schemeClr val="tx1">
              <a:lumMod val="100000"/>
            </a:schemeClr>
          </a:solidFill>
          <a:latin typeface="Arial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" userDrawn="1">
          <p15:clr>
            <a:srgbClr val="F26B43"/>
          </p15:clr>
        </p15:guide>
        <p15:guide id="2" orient="horz" pos="1008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4" orient="horz" pos="2958" userDrawn="1">
          <p15:clr>
            <a:srgbClr val="F26B43"/>
          </p15:clr>
        </p15:guide>
        <p15:guide id="5" orient="horz" pos="599" userDrawn="1">
          <p15:clr>
            <a:srgbClr val="F26B43"/>
          </p15:clr>
        </p15:guide>
        <p15:guide id="6" orient="horz" pos="1280" userDrawn="1">
          <p15:clr>
            <a:srgbClr val="F26B43"/>
          </p15:clr>
        </p15:guide>
        <p15:guide id="7" orient="horz" pos="2867" userDrawn="1">
          <p15:clr>
            <a:srgbClr val="F26B43"/>
          </p15:clr>
        </p15:guide>
        <p15:guide id="8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8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3.png"/><Relationship Id="rId4" Type="http://schemas.openxmlformats.org/officeDocument/2006/relationships/tags" Target="../tags/tag22.xml"/><Relationship Id="rId9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opbox.com/s/yvz4hxicxolh8hz/android_demo.mp4?dl=0" TargetMode="External"/><Relationship Id="rId2" Type="http://schemas.openxmlformats.org/officeDocument/2006/relationships/hyperlink" Target="https://www.dropbox.com/s/jl2ouxzb63lhjzm/proj_demo.mp4?dl=0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dropbox.com/s/no3nzhvpsuml91b/web_demo.avi?dl=0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DF1736-59E1-44DC-B9B4-6FA8B6B5D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6299" cy="380810"/>
          </a:xfrm>
        </p:spPr>
        <p:txBody>
          <a:bodyPr/>
          <a:lstStyle/>
          <a:p>
            <a:r>
              <a:rPr lang="en-US" dirty="0"/>
              <a:t>Current status of project 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D9AFBC-8066-4677-BC61-B93E267B632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3850" y="1600200"/>
            <a:ext cx="8496299" cy="283219"/>
          </a:xfrm>
        </p:spPr>
        <p:txBody>
          <a:bodyPr/>
          <a:lstStyle/>
          <a:p>
            <a:r>
              <a:rPr lang="en-US" dirty="0"/>
              <a:t>22</a:t>
            </a:r>
            <a:r>
              <a:rPr lang="en-US" baseline="30000" dirty="0"/>
              <a:t>nd</a:t>
            </a:r>
            <a:r>
              <a:rPr lang="en-US" dirty="0"/>
              <a:t> of December 2017</a:t>
            </a:r>
          </a:p>
        </p:txBody>
      </p:sp>
    </p:spTree>
    <p:extLst>
      <p:ext uri="{BB962C8B-B14F-4D97-AF65-F5344CB8AC3E}">
        <p14:creationId xmlns:p14="http://schemas.microsoft.com/office/powerpoint/2010/main" val="29578193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A5B69E-0844-463F-B199-8DA02B83A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Dia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4ED48E-41B6-449D-A90C-0BF8DA70C7A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25C218-E590-4328-B77C-B6F654B2C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9899" y="1383203"/>
            <a:ext cx="5893666" cy="348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4635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D97602-A0A2-4BE6-BC9A-B1D906A88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380810"/>
          </a:xfrm>
        </p:spPr>
        <p:txBody>
          <a:bodyPr/>
          <a:lstStyle/>
          <a:p>
            <a:r>
              <a:rPr lang="en-US" dirty="0"/>
              <a:t>Use Case Diagram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3ACE49-E4A0-4A13-8E40-ECB2902A9E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5AD3F4-5C23-4A39-9F69-77342C1BB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640" y="1493979"/>
            <a:ext cx="5633753" cy="319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978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821720-C3D9-4512-99D5-0ED4CA18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Lessons Learned &amp; Tradeof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8A63350-B053-420A-B5D1-DE280E2C85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1874C273-0E35-4989-B399-8B872D041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260013"/>
              </p:ext>
            </p:extLst>
          </p:nvPr>
        </p:nvGraphicFramePr>
        <p:xfrm>
          <a:off x="323847" y="1600200"/>
          <a:ext cx="8396959" cy="78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96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sson</a:t>
                      </a:r>
                      <a:r>
                        <a:rPr lang="de-DE" sz="11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ed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l"/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tter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ion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sks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thub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d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on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64364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C45FA2-1C4E-4B77-BCF5-7440F42C7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C88E9-63F8-44A9-8840-7A265766F6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64BE05D-C449-49EA-9E35-C39B970F92F5}"/>
              </a:ext>
            </a:extLst>
          </p:cNvPr>
          <p:cNvSpPr txBox="1"/>
          <p:nvPr/>
        </p:nvSpPr>
        <p:spPr>
          <a:xfrm>
            <a:off x="323849" y="1677660"/>
            <a:ext cx="8343901" cy="538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We completed all basic features, but some optimization and additional features are still pending. Otherwise, we are awaiting further tasks 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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2479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7A6FF-F2BF-47A3-93AE-6328FD2AE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Te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826E9A-515A-4913-B261-8284E8B30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cxnSp>
        <p:nvCxnSpPr>
          <p:cNvPr id="7" name="AutoShape 3">
            <a:extLst>
              <a:ext uri="{FF2B5EF4-FFF2-40B4-BE49-F238E27FC236}">
                <a16:creationId xmlns:a16="http://schemas.microsoft.com/office/drawing/2014/main" id="{88C2B968-8E7E-4FD1-9A29-3348B5978078}"/>
              </a:ext>
            </a:extLst>
          </p:cNvPr>
          <p:cNvCxnSpPr>
            <a:cxnSpLocks noChangeShapeType="1"/>
            <a:stCxn id="10" idx="2"/>
            <a:endCxn id="11" idx="0"/>
          </p:cNvCxnSpPr>
          <p:nvPr>
            <p:custDataLst>
              <p:tags r:id="rId1"/>
            </p:custDataLst>
          </p:nvPr>
        </p:nvCxnSpPr>
        <p:spPr bwMode="auto">
          <a:xfrm rot="5400000">
            <a:off x="2692514" y="596817"/>
            <a:ext cx="338864" cy="339265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65B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AutoShape 4">
            <a:extLst>
              <a:ext uri="{FF2B5EF4-FFF2-40B4-BE49-F238E27FC236}">
                <a16:creationId xmlns:a16="http://schemas.microsoft.com/office/drawing/2014/main" id="{9300C394-5246-40B4-8B04-867E6DE90A56}"/>
              </a:ext>
            </a:extLst>
          </p:cNvPr>
          <p:cNvCxnSpPr>
            <a:cxnSpLocks noChangeShapeType="1"/>
            <a:stCxn id="10" idx="2"/>
          </p:cNvCxnSpPr>
          <p:nvPr>
            <p:custDataLst>
              <p:tags r:id="rId2"/>
            </p:custDataLst>
          </p:nvPr>
        </p:nvCxnSpPr>
        <p:spPr bwMode="auto">
          <a:xfrm>
            <a:off x="4558273" y="2123711"/>
            <a:ext cx="808" cy="339914"/>
          </a:xfrm>
          <a:prstGeom prst="straightConnector1">
            <a:avLst/>
          </a:prstGeom>
          <a:noFill/>
          <a:ln w="9525">
            <a:solidFill>
              <a:srgbClr val="0065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AutoShape 5">
            <a:extLst>
              <a:ext uri="{FF2B5EF4-FFF2-40B4-BE49-F238E27FC236}">
                <a16:creationId xmlns:a16="http://schemas.microsoft.com/office/drawing/2014/main" id="{515CBCFD-050E-476A-8177-E04BB8AAC4AB}"/>
              </a:ext>
            </a:extLst>
          </p:cNvPr>
          <p:cNvCxnSpPr>
            <a:cxnSpLocks noChangeShapeType="1"/>
            <a:stCxn id="10" idx="2"/>
          </p:cNvCxnSpPr>
          <p:nvPr>
            <p:custDataLst>
              <p:tags r:id="rId3"/>
            </p:custDataLst>
          </p:nvPr>
        </p:nvCxnSpPr>
        <p:spPr bwMode="auto">
          <a:xfrm rot="16200000" flipH="1">
            <a:off x="5984805" y="697179"/>
            <a:ext cx="339914" cy="31929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65B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996231F6-60A1-47A9-A088-7EC1A0A7A35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485336" y="1600202"/>
            <a:ext cx="2145872" cy="523509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Team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number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: 6-6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4166B2C-5889-4BB7-8D9E-9E4A79AA7B5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3848" y="2462575"/>
            <a:ext cx="1683543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Kadir </a:t>
            </a:r>
            <a:r>
              <a:rPr lang="en-US" sz="1200" dirty="0" err="1"/>
              <a:t>Tandogan</a:t>
            </a:r>
            <a:r>
              <a:rPr lang="en-US" sz="1200" dirty="0"/>
              <a:t> </a:t>
            </a:r>
            <a:r>
              <a:rPr lang="en-US" sz="1200" dirty="0" err="1"/>
              <a:t>Tilki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58879CA-21AC-44FC-8AB8-4D1094BE26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82049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Thomas </a:t>
            </a:r>
            <a:r>
              <a:rPr lang="en-US" sz="1200" dirty="0" err="1"/>
              <a:t>Bachmaier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560CE92-E186-44DB-87A5-2405E2FD546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740707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Fabian </a:t>
            </a:r>
            <a:r>
              <a:rPr lang="en-US" sz="1200" dirty="0" err="1"/>
              <a:t>Helfert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EF2D94A-34ED-448B-A1EC-73ED46370D8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399365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Daniela </a:t>
            </a:r>
            <a:r>
              <a:rPr lang="en-US" sz="1200" dirty="0" err="1"/>
              <a:t>Rinscheid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1E22CA6-F7E9-41D1-BA15-AF46D533533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058024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Johannes Thanner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729F0908-A018-4510-B795-98ABEDB802E0}"/>
              </a:ext>
            </a:extLst>
          </p:cNvPr>
          <p:cNvCxnSpPr>
            <a:cxnSpLocks/>
            <a:stCxn id="10" idx="2"/>
            <a:endCxn id="15" idx="0"/>
          </p:cNvCxnSpPr>
          <p:nvPr/>
        </p:nvCxnSpPr>
        <p:spPr>
          <a:xfrm rot="5400000">
            <a:off x="3546729" y="1451032"/>
            <a:ext cx="338864" cy="168422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Verbinder: gewinkelt 29">
            <a:extLst>
              <a:ext uri="{FF2B5EF4-FFF2-40B4-BE49-F238E27FC236}">
                <a16:creationId xmlns:a16="http://schemas.microsoft.com/office/drawing/2014/main" id="{F98D0062-C24C-4A22-AA7D-04B92A1518AE}"/>
              </a:ext>
            </a:extLst>
          </p:cNvPr>
          <p:cNvCxnSpPr>
            <a:cxnSpLocks/>
            <a:stCxn id="10" idx="2"/>
            <a:endCxn id="17" idx="0"/>
          </p:cNvCxnSpPr>
          <p:nvPr/>
        </p:nvCxnSpPr>
        <p:spPr>
          <a:xfrm rot="16200000" flipH="1">
            <a:off x="5205386" y="1476596"/>
            <a:ext cx="338864" cy="16330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685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5F61AFF-CB28-4745-A9BC-C310955EA52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4465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9B0FFD-E745-451F-BE12-E33FE11E2CE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384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E5816357-04C3-4E48-BFF8-3385AD835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465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Add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ttendanc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manually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or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us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th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pp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(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next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slid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15" name="Rechteck 6">
            <a:extLst>
              <a:ext uri="{FF2B5EF4-FFF2-40B4-BE49-F238E27FC236}">
                <a16:creationId xmlns:a16="http://schemas.microsoft.com/office/drawing/2014/main" id="{D20D054C-9CE1-4E45-A3CF-5FC048E2D33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384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Register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s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a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new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user</a:t>
            </a:r>
            <a:endParaRPr lang="de-DE" sz="13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55BD2B7-E8A7-4F40-800F-B4E3DC35570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5272"/>
          <a:stretch/>
        </p:blipFill>
        <p:spPr>
          <a:xfrm>
            <a:off x="453559" y="2024240"/>
            <a:ext cx="3916067" cy="179229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B10F006-60A7-4E51-ABB6-596273EA85D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179"/>
          <a:stretch/>
        </p:blipFill>
        <p:spPr>
          <a:xfrm>
            <a:off x="5330978" y="1986953"/>
            <a:ext cx="2698597" cy="248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81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(continue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5F61AFF-CB28-4745-A9BC-C310955EA52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4465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9B0FFD-E745-451F-BE12-E33FE11E2CE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384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E5816357-04C3-4E48-BFF8-3385AD835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465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Choos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Week and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Request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QR Code</a:t>
            </a:r>
          </a:p>
        </p:txBody>
      </p:sp>
      <p:sp>
        <p:nvSpPr>
          <p:cNvPr id="15" name="Rechteck 6">
            <a:extLst>
              <a:ext uri="{FF2B5EF4-FFF2-40B4-BE49-F238E27FC236}">
                <a16:creationId xmlns:a16="http://schemas.microsoft.com/office/drawing/2014/main" id="{D20D054C-9CE1-4E45-A3CF-5FC048E2D33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384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Logg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I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B57A523-0118-44C2-9961-FD18F715CB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113" y="1977472"/>
            <a:ext cx="1405719" cy="250296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755D5C4-9A11-4E8F-AB56-6E02983E79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2151" y="1977472"/>
            <a:ext cx="1405718" cy="250296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E9AECC0-4469-4215-A326-959BA1A094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291" y="1977471"/>
            <a:ext cx="1405719" cy="250296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2851C79-8491-4EA4-9771-064C0ABA97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5308" y="1977471"/>
            <a:ext cx="1405719" cy="250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849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(continue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D46B480-F507-42F7-A060-E698429EE81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23848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56E9F2-8EC8-4741-BE1D-D93A76D31F8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02772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684FAF90-2E8B-4E07-8CAE-84AEF27BBA1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23848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Start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PI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with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Tutor Code </a:t>
            </a:r>
            <a:r>
              <a:rPr lang="de-DE" sz="1100" dirty="0">
                <a:solidFill>
                  <a:srgbClr val="FFFFFF"/>
                </a:solidFill>
                <a:latin typeface="Arial" panose="020B0604020202020204" pitchFamily="34" charset="0"/>
              </a:rPr>
              <a:t>(0000)</a:t>
            </a:r>
            <a:endParaRPr lang="de-DE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033535F4-187B-428D-B42A-E5FFCB4F87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81698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Attendance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is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successfully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taken</a:t>
            </a:r>
            <a:endParaRPr lang="de-DE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EDF7EB6B-9FCD-4070-AD77-6755160AAD7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02772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Scanning QR Code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300CBFC-333D-4AE0-B376-92DC15EE2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7380" y="1977472"/>
            <a:ext cx="1416770" cy="250296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79D0BC7-4D36-4D48-B247-2F718D3C05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7385" y="1979022"/>
            <a:ext cx="1415893" cy="2501411"/>
          </a:xfrm>
          <a:prstGeom prst="rect">
            <a:avLst/>
          </a:prstGeo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B593C8D-6C4B-4EF1-ADB7-6C203D24580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81696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82CC3465-C222-4F69-B273-3AFB226FCBA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33338" b="45070"/>
          <a:stretch/>
        </p:blipFill>
        <p:spPr>
          <a:xfrm>
            <a:off x="6166235" y="2122809"/>
            <a:ext cx="2558665" cy="2157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97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89BD19-356E-47DB-B158-53F5C5604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Project Demo Video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E1FDAF-1EA6-41DE-8F73-20825CA70A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C1970DA-FA81-41A5-851A-EFB7D162BA37}"/>
              </a:ext>
            </a:extLst>
          </p:cNvPr>
          <p:cNvSpPr txBox="1"/>
          <p:nvPr/>
        </p:nvSpPr>
        <p:spPr>
          <a:xfrm>
            <a:off x="323849" y="1752600"/>
            <a:ext cx="7348037" cy="99591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Whole Project: </a:t>
            </a:r>
            <a:r>
              <a:rPr lang="en-US" sz="1600" dirty="0">
                <a:hlinkClick r:id="rId2"/>
              </a:rPr>
              <a:t>https://www.dropbox.com/s/jl2ouxzb63lhjzm/proj_demo.mp4?dl=0</a:t>
            </a:r>
            <a:endParaRPr lang="en-US" sz="1600" dirty="0"/>
          </a:p>
          <a:p>
            <a:r>
              <a:rPr lang="en-US" sz="1600" dirty="0"/>
              <a:t>Android: </a:t>
            </a:r>
            <a:r>
              <a:rPr lang="en-US" sz="1600" dirty="0">
                <a:hlinkClick r:id="rId3"/>
              </a:rPr>
              <a:t>https://www.dropbox.com/s/yvz4hxicxolh8hz/android_demo.mp4?dl=0</a:t>
            </a:r>
            <a:endParaRPr lang="en-US" sz="1600" dirty="0"/>
          </a:p>
          <a:p>
            <a:r>
              <a:rPr lang="en-US" sz="1600" dirty="0"/>
              <a:t>Web: </a:t>
            </a:r>
            <a:r>
              <a:rPr lang="en-US" sz="1600" dirty="0">
                <a:hlinkClick r:id="rId4"/>
              </a:rPr>
              <a:t>https://www.dropbox.com/s/no3nzhvpsuml91b/web_demo.avi?dl=0</a:t>
            </a:r>
            <a:endParaRPr lang="en-US" sz="1600" dirty="0"/>
          </a:p>
          <a:p>
            <a:pPr>
              <a:lnSpc>
                <a:spcPct val="114000"/>
              </a:lnSpc>
            </a:pPr>
            <a:endParaRPr lang="en-US" sz="16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7934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53DDAC-92D9-4F65-9840-C10E905E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Completed and Due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FCEC10-EB02-44E6-9CFB-3BF8D165D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9246386B-75D9-439C-98DE-587F6E0AF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617547"/>
              </p:ext>
            </p:extLst>
          </p:nvPr>
        </p:nvGraphicFramePr>
        <p:xfrm>
          <a:off x="217523" y="1409107"/>
          <a:ext cx="8496300" cy="3106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3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3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ee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s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tatus</a:t>
                      </a:r>
                      <a:endParaRPr kumimoji="0" lang="de-DE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itHub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b app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login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 if registered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er for tutor group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w group information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ST</a:t>
                      </a:r>
                    </a:p>
                    <a:p>
                      <a:pPr lvl="1"/>
                      <a:r>
                        <a:rPr lang="en-US" sz="1200" dirty="0"/>
                        <a:t>Attendance entry and attendance log</a:t>
                      </a:r>
                    </a:p>
                    <a:p>
                      <a:pPr lvl="1"/>
                      <a:r>
                        <a:rPr lang="en-US" sz="1200" dirty="0"/>
                        <a:t>Check for correct group </a:t>
                      </a:r>
                    </a:p>
                    <a:p>
                      <a:pPr lvl="1"/>
                      <a:r>
                        <a:rPr lang="en-US" sz="1200" dirty="0"/>
                        <a:t>Display all attendances per group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QR Code on Raspberry Pi</a:t>
                      </a:r>
                    </a:p>
                    <a:p>
                      <a:pPr lvl="1"/>
                      <a:r>
                        <a:rPr lang="en-US" sz="1200" dirty="0"/>
                        <a:t>Transform attendance string to QR code</a:t>
                      </a:r>
                    </a:p>
                    <a:p>
                      <a:pPr lvl="1"/>
                      <a:r>
                        <a:rPr lang="en-US" sz="1200" dirty="0"/>
                        <a:t>Read and parse QR code per webcam </a:t>
                      </a:r>
                    </a:p>
                    <a:p>
                      <a:pPr lvl="1"/>
                      <a:r>
                        <a:rPr lang="en-US" sz="1200" dirty="0"/>
                        <a:t>Display decoded string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5706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53DDAC-92D9-4F65-9840-C10E905E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Completed and Due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FCEC10-EB02-44E6-9CFB-3BF8D165D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7B46093-7F52-4FCC-BFFD-405B17EBE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832814"/>
              </p:ext>
            </p:extLst>
          </p:nvPr>
        </p:nvGraphicFramePr>
        <p:xfrm>
          <a:off x="217523" y="1409107"/>
          <a:ext cx="8496300" cy="3453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3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3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ee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s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tatus</a:t>
                      </a:r>
                      <a:endParaRPr kumimoji="0" lang="de-DE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between Pi and BE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vert attendance record to XML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mit XML via POST request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er should parse and store request in database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w confirmation if success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ttendance tokens </a:t>
                      </a:r>
                    </a:p>
                    <a:p>
                      <a:pPr lvl="1"/>
                      <a:r>
                        <a:rPr lang="en-US" sz="1200" dirty="0"/>
                        <a:t>Extend QR creation upon registration</a:t>
                      </a:r>
                    </a:p>
                    <a:p>
                      <a:pPr lvl="1"/>
                      <a:r>
                        <a:rPr lang="en-US" sz="1200" dirty="0"/>
                        <a:t>Implement GET request to deliver token per student and week</a:t>
                      </a:r>
                    </a:p>
                    <a:p>
                      <a:pPr lvl="1"/>
                      <a:r>
                        <a:rPr lang="en-US" sz="1200" dirty="0"/>
                        <a:t>Check for correct token before stored in database otherwise failure message</a:t>
                      </a:r>
                    </a:p>
                    <a:p>
                      <a:pPr lvl="0"/>
                      <a:r>
                        <a:rPr lang="en-US" sz="1200" dirty="0"/>
                        <a:t>Android app</a:t>
                      </a:r>
                    </a:p>
                    <a:p>
                      <a:pPr lvl="1"/>
                      <a:r>
                        <a:rPr lang="en-US" sz="1200" dirty="0"/>
                        <a:t>Login functionality</a:t>
                      </a:r>
                    </a:p>
                    <a:p>
                      <a:pPr lvl="1"/>
                      <a:r>
                        <a:rPr lang="en-US" sz="1200" dirty="0"/>
                        <a:t>Retrieve weekly token and display as QR</a:t>
                      </a:r>
                    </a:p>
                    <a:p>
                      <a:pPr lvl="1"/>
                      <a:r>
                        <a:rPr lang="en-US" sz="1200" dirty="0"/>
                        <a:t>Display attendance history (optional)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Authentication </a:t>
                      </a:r>
                    </a:p>
                    <a:p>
                      <a:pPr lvl="1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Authenticate tutors and students</a:t>
                      </a:r>
                    </a:p>
                    <a:p>
                      <a:pPr lvl="1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Handheld checks for credentials 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125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A7DDDF-2023-4C5F-A256-C41A5D32D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Archite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E51C1D-69D0-4000-93E0-12A7791975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8151DA2-84C4-4202-BEC8-D6DDC4B48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2829" y="1767100"/>
            <a:ext cx="3381375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65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  <p:tag name="EE4P_SMART_ELEMENT_INVERT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heme/theme1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UM_Praesentation_p_v2_16-9_EE.potx" id="{F67579AE-1A9B-486F-92BE-436F0B51AAB1}" vid="{D846A105-E549-42AE-B5A9-9E788E4A93A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2_16-9_EE</Template>
  <TotalTime>0</TotalTime>
  <Words>317</Words>
  <Application>Microsoft Office PowerPoint</Application>
  <PresentationFormat>Bildschirmpräsentation (16:9)</PresentationFormat>
  <Paragraphs>96</Paragraphs>
  <Slides>1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Courier New</vt:lpstr>
      <vt:lpstr>Symbol</vt:lpstr>
      <vt:lpstr>Wingdings</vt:lpstr>
      <vt:lpstr>Inhalt</vt:lpstr>
      <vt:lpstr>Current status of project work</vt:lpstr>
      <vt:lpstr>Our Team</vt:lpstr>
      <vt:lpstr>Demo</vt:lpstr>
      <vt:lpstr>Demo (continued)</vt:lpstr>
      <vt:lpstr>Demo (continued)</vt:lpstr>
      <vt:lpstr>Project Demo Videos</vt:lpstr>
      <vt:lpstr>Completed and Due Features</vt:lpstr>
      <vt:lpstr>Completed and Due Features</vt:lpstr>
      <vt:lpstr>High Level Architecture</vt:lpstr>
      <vt:lpstr>Deployment Diagram</vt:lpstr>
      <vt:lpstr>Use Case Diagram </vt:lpstr>
      <vt:lpstr>Lessons Learned &amp; Tradeoff</vt:lpstr>
      <vt:lpstr>Future Work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esu</dc:creator>
  <cp:lastModifiedBy>Johannes Thanner</cp:lastModifiedBy>
  <cp:revision>24</cp:revision>
  <cp:lastPrinted>2015-07-30T14:04:45Z</cp:lastPrinted>
  <dcterms:created xsi:type="dcterms:W3CDTF">2016-06-14T15:41:54Z</dcterms:created>
  <dcterms:modified xsi:type="dcterms:W3CDTF">2017-12-20T13:51:45Z</dcterms:modified>
</cp:coreProperties>
</file>